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4"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EAE9E9"/>
    <a:srgbClr val="D7BB77"/>
    <a:srgbClr val="EB9E62"/>
    <a:srgbClr val="C7C9C7"/>
    <a:srgbClr val="FB3449"/>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47B7F3-E6B8-4454-935E-4D0137566446}" v="23" dt="2024-10-30T15:33:57.204"/>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100" d="100"/>
          <a:sy n="100" d="100"/>
        </p:scale>
        <p:origin x="600"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slideMaster" Target="slideMasters/slideMaster1.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 Christofi" userId="f92faeab-5284-4aba-bb83-e8da97e104d4" providerId="ADAL" clId="{BF47B7F3-E6B8-4454-935E-4D0137566446}"/>
    <pc:docChg chg="undo redo custSel addSld delSld modSld">
      <pc:chgData name="Louis Christofi" userId="f92faeab-5284-4aba-bb83-e8da97e104d4" providerId="ADAL" clId="{BF47B7F3-E6B8-4454-935E-4D0137566446}" dt="2024-10-30T15:34:30.415" v="577" actId="207"/>
      <pc:docMkLst>
        <pc:docMk/>
      </pc:docMkLst>
      <pc:sldChg chg="modSp del mod">
        <pc:chgData name="Louis Christofi" userId="f92faeab-5284-4aba-bb83-e8da97e104d4" providerId="ADAL" clId="{BF47B7F3-E6B8-4454-935E-4D0137566446}" dt="2024-10-30T15:32:42.457" v="542" actId="47"/>
        <pc:sldMkLst>
          <pc:docMk/>
          <pc:sldMk cId="887131680" sldId="2147473571"/>
        </pc:sldMkLst>
        <pc:spChg chg="mod">
          <ac:chgData name="Louis Christofi" userId="f92faeab-5284-4aba-bb83-e8da97e104d4" providerId="ADAL" clId="{BF47B7F3-E6B8-4454-935E-4D0137566446}" dt="2024-10-11T15:47:18.512" v="0" actId="20577"/>
          <ac:spMkLst>
            <pc:docMk/>
            <pc:sldMk cId="887131680" sldId="2147473571"/>
            <ac:spMk id="39" creationId="{AFE07F1B-5BFA-5E76-6595-F952AA5868F6}"/>
          </ac:spMkLst>
        </pc:spChg>
      </pc:sldChg>
      <pc:sldChg chg="addSp delSp modSp add mod">
        <pc:chgData name="Louis Christofi" userId="f92faeab-5284-4aba-bb83-e8da97e104d4" providerId="ADAL" clId="{BF47B7F3-E6B8-4454-935E-4D0137566446}" dt="2024-10-30T15:34:30.415" v="577" actId="207"/>
        <pc:sldMkLst>
          <pc:docMk/>
          <pc:sldMk cId="2566403626" sldId="2147473572"/>
        </pc:sldMkLst>
        <pc:spChg chg="add del mod">
          <ac:chgData name="Louis Christofi" userId="f92faeab-5284-4aba-bb83-e8da97e104d4" providerId="ADAL" clId="{BF47B7F3-E6B8-4454-935E-4D0137566446}" dt="2024-10-17T15:13:57.051" v="302" actId="21"/>
          <ac:spMkLst>
            <pc:docMk/>
            <pc:sldMk cId="2566403626" sldId="2147473572"/>
            <ac:spMk id="2" creationId="{DFBF0C41-1C84-060F-A26F-A004CA156092}"/>
          </ac:spMkLst>
        </pc:spChg>
        <pc:spChg chg="add del mod">
          <ac:chgData name="Louis Christofi" userId="f92faeab-5284-4aba-bb83-e8da97e104d4" providerId="ADAL" clId="{BF47B7F3-E6B8-4454-935E-4D0137566446}" dt="2024-10-18T10:40:12.137" v="342" actId="478"/>
          <ac:spMkLst>
            <pc:docMk/>
            <pc:sldMk cId="2566403626" sldId="2147473572"/>
            <ac:spMk id="5" creationId="{02E4EFA5-8B90-A308-9AFA-96B5636BF63C}"/>
          </ac:spMkLst>
        </pc:spChg>
        <pc:spChg chg="add del mod">
          <ac:chgData name="Louis Christofi" userId="f92faeab-5284-4aba-bb83-e8da97e104d4" providerId="ADAL" clId="{BF47B7F3-E6B8-4454-935E-4D0137566446}" dt="2024-10-17T15:15:21.429" v="316" actId="478"/>
          <ac:spMkLst>
            <pc:docMk/>
            <pc:sldMk cId="2566403626" sldId="2147473572"/>
            <ac:spMk id="6" creationId="{589ECECD-BD96-4ED9-EB08-B05AF7444655}"/>
          </ac:spMkLst>
        </pc:spChg>
        <pc:spChg chg="add del mod">
          <ac:chgData name="Louis Christofi" userId="f92faeab-5284-4aba-bb83-e8da97e104d4" providerId="ADAL" clId="{BF47B7F3-E6B8-4454-935E-4D0137566446}" dt="2024-10-17T15:14:32.637" v="307" actId="478"/>
          <ac:spMkLst>
            <pc:docMk/>
            <pc:sldMk cId="2566403626" sldId="2147473572"/>
            <ac:spMk id="7" creationId="{DFBF0C41-1C84-060F-A26F-A004CA156092}"/>
          </ac:spMkLst>
        </pc:spChg>
        <pc:spChg chg="add mod">
          <ac:chgData name="Louis Christofi" userId="f92faeab-5284-4aba-bb83-e8da97e104d4" providerId="ADAL" clId="{BF47B7F3-E6B8-4454-935E-4D0137566446}" dt="2024-10-30T15:34:15.946" v="576" actId="1076"/>
          <ac:spMkLst>
            <pc:docMk/>
            <pc:sldMk cId="2566403626" sldId="2147473572"/>
            <ac:spMk id="8" creationId="{AAFE6A8B-52D6-29DE-5A1F-F93331FEC6B2}"/>
          </ac:spMkLst>
        </pc:spChg>
        <pc:spChg chg="mod">
          <ac:chgData name="Louis Christofi" userId="f92faeab-5284-4aba-bb83-e8da97e104d4" providerId="ADAL" clId="{BF47B7F3-E6B8-4454-935E-4D0137566446}" dt="2024-10-17T13:58:15.351" v="107" actId="20577"/>
          <ac:spMkLst>
            <pc:docMk/>
            <pc:sldMk cId="2566403626" sldId="2147473572"/>
            <ac:spMk id="9" creationId="{E18EAFD5-1EED-3CDB-BE18-D50E74D7D2F0}"/>
          </ac:spMkLst>
        </pc:spChg>
        <pc:spChg chg="mod">
          <ac:chgData name="Louis Christofi" userId="f92faeab-5284-4aba-bb83-e8da97e104d4" providerId="ADAL" clId="{BF47B7F3-E6B8-4454-935E-4D0137566446}" dt="2024-10-17T11:23:19.931" v="25" actId="2711"/>
          <ac:spMkLst>
            <pc:docMk/>
            <pc:sldMk cId="2566403626" sldId="2147473572"/>
            <ac:spMk id="11" creationId="{6211ACA0-BB45-FA11-C17A-92629BA90B14}"/>
          </ac:spMkLst>
        </pc:spChg>
        <pc:spChg chg="add mod">
          <ac:chgData name="Louis Christofi" userId="f92faeab-5284-4aba-bb83-e8da97e104d4" providerId="ADAL" clId="{BF47B7F3-E6B8-4454-935E-4D0137566446}" dt="2024-10-30T15:33:06.531" v="567" actId="1036"/>
          <ac:spMkLst>
            <pc:docMk/>
            <pc:sldMk cId="2566403626" sldId="2147473572"/>
            <ac:spMk id="13" creationId="{8C5CE6F1-F902-5E65-D4B5-03D25C61DFC9}"/>
          </ac:spMkLst>
        </pc:spChg>
        <pc:spChg chg="mod">
          <ac:chgData name="Louis Christofi" userId="f92faeab-5284-4aba-bb83-e8da97e104d4" providerId="ADAL" clId="{BF47B7F3-E6B8-4454-935E-4D0137566446}" dt="2024-10-30T15:32:55.011" v="544" actId="1076"/>
          <ac:spMkLst>
            <pc:docMk/>
            <pc:sldMk cId="2566403626" sldId="2147473572"/>
            <ac:spMk id="14" creationId="{B612AB6E-2D8C-DBDD-60A1-0B11B3558FAD}"/>
          </ac:spMkLst>
        </pc:spChg>
        <pc:spChg chg="del">
          <ac:chgData name="Louis Christofi" userId="f92faeab-5284-4aba-bb83-e8da97e104d4" providerId="ADAL" clId="{BF47B7F3-E6B8-4454-935E-4D0137566446}" dt="2024-10-17T13:57:13.904" v="34" actId="21"/>
          <ac:spMkLst>
            <pc:docMk/>
            <pc:sldMk cId="2566403626" sldId="2147473572"/>
            <ac:spMk id="15" creationId="{361F2E9E-84F1-3D2E-AAC1-CF298C6CF694}"/>
          </ac:spMkLst>
        </pc:spChg>
        <pc:spChg chg="add mod">
          <ac:chgData name="Louis Christofi" userId="f92faeab-5284-4aba-bb83-e8da97e104d4" providerId="ADAL" clId="{BF47B7F3-E6B8-4454-935E-4D0137566446}" dt="2024-10-30T15:33:06.531" v="567" actId="1036"/>
          <ac:spMkLst>
            <pc:docMk/>
            <pc:sldMk cId="2566403626" sldId="2147473572"/>
            <ac:spMk id="15" creationId="{D072FB07-EEC6-8E55-E75B-F4499D3AA8CF}"/>
          </ac:spMkLst>
        </pc:spChg>
        <pc:spChg chg="mod">
          <ac:chgData name="Louis Christofi" userId="f92faeab-5284-4aba-bb83-e8da97e104d4" providerId="ADAL" clId="{BF47B7F3-E6B8-4454-935E-4D0137566446}" dt="2024-10-17T14:42:02.980" v="202" actId="1076"/>
          <ac:spMkLst>
            <pc:docMk/>
            <pc:sldMk cId="2566403626" sldId="2147473572"/>
            <ac:spMk id="30" creationId="{C8AFFC6E-F431-AAF0-7A88-4C586B3D4CC4}"/>
          </ac:spMkLst>
        </pc:spChg>
        <pc:spChg chg="mod">
          <ac:chgData name="Louis Christofi" userId="f92faeab-5284-4aba-bb83-e8da97e104d4" providerId="ADAL" clId="{BF47B7F3-E6B8-4454-935E-4D0137566446}" dt="2024-10-30T15:34:30.415" v="577" actId="207"/>
          <ac:spMkLst>
            <pc:docMk/>
            <pc:sldMk cId="2566403626" sldId="2147473572"/>
            <ac:spMk id="39" creationId="{B126E515-54A6-7305-8A70-7526FB5CF506}"/>
          </ac:spMkLst>
        </pc:spChg>
        <pc:spChg chg="del">
          <ac:chgData name="Louis Christofi" userId="f92faeab-5284-4aba-bb83-e8da97e104d4" providerId="ADAL" clId="{BF47B7F3-E6B8-4454-935E-4D0137566446}" dt="2024-10-17T14:41:26.901" v="190" actId="478"/>
          <ac:spMkLst>
            <pc:docMk/>
            <pc:sldMk cId="2566403626" sldId="2147473572"/>
            <ac:spMk id="48" creationId="{491DCEA7-D803-AB87-55A7-36BF69625240}"/>
          </ac:spMkLst>
        </pc:spChg>
        <pc:spChg chg="del mod">
          <ac:chgData name="Louis Christofi" userId="f92faeab-5284-4aba-bb83-e8da97e104d4" providerId="ADAL" clId="{BF47B7F3-E6B8-4454-935E-4D0137566446}" dt="2024-10-17T14:42:04.549" v="203" actId="478"/>
          <ac:spMkLst>
            <pc:docMk/>
            <pc:sldMk cId="2566403626" sldId="2147473572"/>
            <ac:spMk id="49" creationId="{57DB0C6D-E118-AC11-9C33-EDD2DA52A73F}"/>
          </ac:spMkLst>
        </pc:spChg>
        <pc:spChg chg="del">
          <ac:chgData name="Louis Christofi" userId="f92faeab-5284-4aba-bb83-e8da97e104d4" providerId="ADAL" clId="{BF47B7F3-E6B8-4454-935E-4D0137566446}" dt="2024-10-17T14:41:55.649" v="199" actId="478"/>
          <ac:spMkLst>
            <pc:docMk/>
            <pc:sldMk cId="2566403626" sldId="2147473572"/>
            <ac:spMk id="50" creationId="{5813BFFF-84AB-2F5C-E1E9-4762756699FE}"/>
          </ac:spMkLst>
        </pc:spChg>
        <pc:spChg chg="del mod">
          <ac:chgData name="Louis Christofi" userId="f92faeab-5284-4aba-bb83-e8da97e104d4" providerId="ADAL" clId="{BF47B7F3-E6B8-4454-935E-4D0137566446}" dt="2024-10-17T14:41:28.101" v="191" actId="478"/>
          <ac:spMkLst>
            <pc:docMk/>
            <pc:sldMk cId="2566403626" sldId="2147473572"/>
            <ac:spMk id="51" creationId="{57BB4558-9142-251E-D109-A81A1DC5223F}"/>
          </ac:spMkLst>
        </pc:spChg>
        <pc:spChg chg="del mod">
          <ac:chgData name="Louis Christofi" userId="f92faeab-5284-4aba-bb83-e8da97e104d4" providerId="ADAL" clId="{BF47B7F3-E6B8-4454-935E-4D0137566446}" dt="2024-10-17T14:42:04.549" v="203" actId="478"/>
          <ac:spMkLst>
            <pc:docMk/>
            <pc:sldMk cId="2566403626" sldId="2147473572"/>
            <ac:spMk id="52" creationId="{A6A7319F-BEFB-71BE-C85F-1F500A361001}"/>
          </ac:spMkLst>
        </pc:spChg>
        <pc:spChg chg="del">
          <ac:chgData name="Louis Christofi" userId="f92faeab-5284-4aba-bb83-e8da97e104d4" providerId="ADAL" clId="{BF47B7F3-E6B8-4454-935E-4D0137566446}" dt="2024-10-17T14:41:55.649" v="199" actId="478"/>
          <ac:spMkLst>
            <pc:docMk/>
            <pc:sldMk cId="2566403626" sldId="2147473572"/>
            <ac:spMk id="53" creationId="{A4B77B3F-898E-5562-3BDB-1AA587B4478A}"/>
          </ac:spMkLst>
        </pc:spChg>
        <pc:graphicFrameChg chg="add mod">
          <ac:chgData name="Louis Christofi" userId="f92faeab-5284-4aba-bb83-e8da97e104d4" providerId="ADAL" clId="{BF47B7F3-E6B8-4454-935E-4D0137566446}" dt="2024-10-30T15:34:08.817" v="575" actId="14100"/>
          <ac:graphicFrameMkLst>
            <pc:docMk/>
            <pc:sldMk cId="2566403626" sldId="2147473572"/>
            <ac:graphicFrameMk id="4" creationId="{A4EC08BE-605B-8BC0-9F5D-501220CEE286}"/>
          </ac:graphicFrameMkLst>
        </pc:graphicFrameChg>
        <pc:graphicFrameChg chg="add del mod">
          <ac:chgData name="Louis Christofi" userId="f92faeab-5284-4aba-bb83-e8da97e104d4" providerId="ADAL" clId="{BF47B7F3-E6B8-4454-935E-4D0137566446}" dt="2024-10-18T10:39:55.475" v="340" actId="478"/>
          <ac:graphicFrameMkLst>
            <pc:docMk/>
            <pc:sldMk cId="2566403626" sldId="2147473572"/>
            <ac:graphicFrameMk id="10" creationId="{A4EC08BE-605B-8BC0-9F5D-501220CEE286}"/>
          </ac:graphicFrameMkLst>
        </pc:graphicFrameChg>
        <pc:graphicFrameChg chg="add del mod">
          <ac:chgData name="Louis Christofi" userId="f92faeab-5284-4aba-bb83-e8da97e104d4" providerId="ADAL" clId="{BF47B7F3-E6B8-4454-935E-4D0137566446}" dt="2024-10-18T10:39:53.348" v="338"/>
          <ac:graphicFrameMkLst>
            <pc:docMk/>
            <pc:sldMk cId="2566403626" sldId="2147473572"/>
            <ac:graphicFrameMk id="12" creationId="{A4EC08BE-605B-8BC0-9F5D-501220CEE286}"/>
          </ac:graphicFrameMkLst>
        </pc:graphicFrameChg>
        <pc:graphicFrameChg chg="mod modGraphic">
          <ac:chgData name="Louis Christofi" userId="f92faeab-5284-4aba-bb83-e8da97e104d4" providerId="ADAL" clId="{BF47B7F3-E6B8-4454-935E-4D0137566446}" dt="2024-10-17T14:09:17.017" v="167" actId="20577"/>
          <ac:graphicFrameMkLst>
            <pc:docMk/>
            <pc:sldMk cId="2566403626" sldId="2147473572"/>
            <ac:graphicFrameMk id="38" creationId="{C09A603F-056F-E5DB-97B8-A08C8DA3C586}"/>
          </ac:graphicFrameMkLst>
        </pc:graphicFrameChg>
        <pc:picChg chg="add del mod">
          <ac:chgData name="Louis Christofi" userId="f92faeab-5284-4aba-bb83-e8da97e104d4" providerId="ADAL" clId="{BF47B7F3-E6B8-4454-935E-4D0137566446}" dt="2024-10-17T13:57:08.677" v="33" actId="21"/>
          <ac:picMkLst>
            <pc:docMk/>
            <pc:sldMk cId="2566403626" sldId="2147473572"/>
            <ac:picMk id="3" creationId="{AD516C52-EACC-DECA-3AD6-85E3F084914F}"/>
          </ac:picMkLst>
        </pc:picChg>
        <pc:picChg chg="mod">
          <ac:chgData name="Louis Christofi" userId="f92faeab-5284-4aba-bb83-e8da97e104d4" providerId="ADAL" clId="{BF47B7F3-E6B8-4454-935E-4D0137566446}" dt="2024-10-17T13:56:59.914" v="32" actId="1076"/>
          <ac:picMkLst>
            <pc:docMk/>
            <pc:sldMk cId="2566403626" sldId="2147473572"/>
            <ac:picMk id="26" creationId="{66B83248-CD87-F2D4-F7F4-8D478B331ED9}"/>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11/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3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oleObject" Target="../embeddings/oleObject12.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oleObject" Target="../embeddings/oleObject25.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ags" Target="../tags/tag3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EAD2F-42CB-52B6-F719-45510098ECB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E18EAFD5-1EED-3CDB-BE18-D50E74D7D2F0}"/>
              </a:ext>
            </a:extLst>
          </p:cNvPr>
          <p:cNvSpPr>
            <a:spLocks noGrp="1"/>
          </p:cNvSpPr>
          <p:nvPr>
            <p:ph type="body" sz="quarter" idx="31"/>
          </p:nvPr>
        </p:nvSpPr>
        <p:spPr/>
        <p:txBody>
          <a:bodyPr/>
          <a:lstStyle/>
          <a:p>
            <a:r>
              <a:rPr lang="en-GB" dirty="0"/>
              <a:t>‘Futures to Smile About’</a:t>
            </a:r>
          </a:p>
        </p:txBody>
      </p:sp>
      <p:sp>
        <p:nvSpPr>
          <p:cNvPr id="11" name="Title 10">
            <a:extLst>
              <a:ext uri="{FF2B5EF4-FFF2-40B4-BE49-F238E27FC236}">
                <a16:creationId xmlns:a16="http://schemas.microsoft.com/office/drawing/2014/main" id="{6211ACA0-BB45-FA11-C17A-92629BA90B14}"/>
              </a:ext>
            </a:extLst>
          </p:cNvPr>
          <p:cNvSpPr>
            <a:spLocks noGrp="1"/>
          </p:cNvSpPr>
          <p:nvPr>
            <p:ph type="title"/>
          </p:nvPr>
        </p:nvSpPr>
        <p:spPr/>
        <p:txBody>
          <a:bodyPr/>
          <a:lstStyle/>
          <a:p>
            <a:r>
              <a:rPr lang="en-GB" b="0" i="0" dirty="0">
                <a:solidFill>
                  <a:srgbClr val="000000"/>
                </a:solidFill>
                <a:effectLst/>
              </a:rPr>
              <a:t>Colgate</a:t>
            </a:r>
            <a:endParaRPr lang="en-GB" dirty="0"/>
          </a:p>
        </p:txBody>
      </p:sp>
      <p:sp>
        <p:nvSpPr>
          <p:cNvPr id="30" name="Rectangle 29">
            <a:extLst>
              <a:ext uri="{FF2B5EF4-FFF2-40B4-BE49-F238E27FC236}">
                <a16:creationId xmlns:a16="http://schemas.microsoft.com/office/drawing/2014/main" id="{C8AFFC6E-F431-AAF0-7A88-4C586B3D4CC4}"/>
              </a:ext>
            </a:extLst>
          </p:cNvPr>
          <p:cNvSpPr/>
          <p:nvPr/>
        </p:nvSpPr>
        <p:spPr>
          <a:xfrm>
            <a:off x="10582275" y="7215306"/>
            <a:ext cx="2757633" cy="21544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Awards: Colgate Case Study 2024. </a:t>
            </a:r>
          </a:p>
        </p:txBody>
      </p:sp>
      <p:graphicFrame>
        <p:nvGraphicFramePr>
          <p:cNvPr id="38" name="Table 5">
            <a:extLst>
              <a:ext uri="{FF2B5EF4-FFF2-40B4-BE49-F238E27FC236}">
                <a16:creationId xmlns:a16="http://schemas.microsoft.com/office/drawing/2014/main" id="{C09A603F-056F-E5DB-97B8-A08C8DA3C586}"/>
              </a:ext>
            </a:extLst>
          </p:cNvPr>
          <p:cNvGraphicFramePr>
            <a:graphicFrameLocks noGrp="1"/>
          </p:cNvGraphicFramePr>
          <p:nvPr>
            <p:extLst>
              <p:ext uri="{D42A27DB-BD31-4B8C-83A1-F6EECF244321}">
                <p14:modId xmlns:p14="http://schemas.microsoft.com/office/powerpoint/2010/main" val="3204598277"/>
              </p:ext>
            </p:extLst>
          </p:nvPr>
        </p:nvGraphicFramePr>
        <p:xfrm>
          <a:off x="6886575" y="269705"/>
          <a:ext cx="6036480" cy="722877"/>
        </p:xfrm>
        <a:graphic>
          <a:graphicData uri="http://schemas.openxmlformats.org/drawingml/2006/table">
            <a:tbl>
              <a:tblPr firstRow="1" bandRow="1">
                <a:tableStyleId>{5C22544A-7EE6-4342-B048-85BDC9FD1C3A}</a:tableStyleId>
              </a:tblPr>
              <a:tblGrid>
                <a:gridCol w="1057275">
                  <a:extLst>
                    <a:ext uri="{9D8B030D-6E8A-4147-A177-3AD203B41FA5}">
                      <a16:colId xmlns:a16="http://schemas.microsoft.com/office/drawing/2014/main" val="1043653864"/>
                    </a:ext>
                  </a:extLst>
                </a:gridCol>
                <a:gridCol w="1343025">
                  <a:extLst>
                    <a:ext uri="{9D8B030D-6E8A-4147-A177-3AD203B41FA5}">
                      <a16:colId xmlns:a16="http://schemas.microsoft.com/office/drawing/2014/main" val="1430915649"/>
                    </a:ext>
                  </a:extLst>
                </a:gridCol>
                <a:gridCol w="1228725">
                  <a:extLst>
                    <a:ext uri="{9D8B030D-6E8A-4147-A177-3AD203B41FA5}">
                      <a16:colId xmlns:a16="http://schemas.microsoft.com/office/drawing/2014/main" val="1969532920"/>
                    </a:ext>
                  </a:extLst>
                </a:gridCol>
                <a:gridCol w="1362075">
                  <a:extLst>
                    <a:ext uri="{9D8B030D-6E8A-4147-A177-3AD203B41FA5}">
                      <a16:colId xmlns:a16="http://schemas.microsoft.com/office/drawing/2014/main" val="696929619"/>
                    </a:ext>
                  </a:extLst>
                </a:gridCol>
                <a:gridCol w="1045380">
                  <a:extLst>
                    <a:ext uri="{9D8B030D-6E8A-4147-A177-3AD203B41FA5}">
                      <a16:colId xmlns:a16="http://schemas.microsoft.com/office/drawing/2014/main" val="214587584"/>
                    </a:ext>
                  </a:extLst>
                </a:gridCol>
              </a:tblGrid>
              <a:tr h="334218">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SECTOR</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TARGET AUDIENC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PACKAG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MEDIA AGENCY</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COPY LENGTH</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8659">
                <a:tc>
                  <a:txBody>
                    <a:bodyPr/>
                    <a:lstStyle/>
                    <a:p>
                      <a:pPr algn="ctr" fontAlgn="ctr"/>
                      <a:r>
                        <a:rPr lang="en-GB" sz="1050" b="0" i="0" u="none" strike="noStrike" dirty="0">
                          <a:solidFill>
                            <a:srgbClr val="000000"/>
                          </a:solidFill>
                          <a:effectLst/>
                          <a:latin typeface="+mn-lt"/>
                        </a:rPr>
                        <a:t>Personal Care</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s</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Film Packs</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Wavemaker</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30”</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B126E515-54A6-7305-8A70-7526FB5CF506}"/>
              </a:ext>
            </a:extLst>
          </p:cNvPr>
          <p:cNvSpPr txBox="1">
            <a:spLocks/>
          </p:cNvSpPr>
          <p:nvPr/>
        </p:nvSpPr>
        <p:spPr bwMode="gray">
          <a:xfrm>
            <a:off x="279713" y="1206546"/>
            <a:ext cx="6403222" cy="55977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accent2"/>
                </a:solidFill>
                <a:latin typeface="Arial" pitchFamily="34" charset="0"/>
                <a:cs typeface="Arial" pitchFamily="34" charset="0"/>
              </a:rPr>
              <a:t>BACKGROUND</a:t>
            </a:r>
          </a:p>
          <a:p>
            <a:pPr>
              <a:lnSpc>
                <a:spcPct val="150000"/>
              </a:lnSpc>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Brushing our teeth is something that many of us take for granted and it is a habitual part of our everyday life, but sadly, this is not the case for all. When we think of the issues facing the homeless, we may think of drugs, crime, hunger, the cold but the startling reality is that without access to oral hygiene, the majority of rough-sleepers experience mouth pain. This major issue led Colgate to partner with the </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hange Please</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an award-winning social enterprise to improve the oral care for the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homeless. Historically, Colgate’s focus has been communicating product efficacy and value, with heavy weight TV plans designed to drive awareness and effective conversion to sales. That was not the aim of this campaign, this activity had an arguably much deeper and more important message to convey.</a:t>
            </a:r>
            <a:endParaRPr lang="en-GB" altLang="en-US" sz="1100" dirty="0">
              <a:solidFill>
                <a:schemeClr val="accent2"/>
              </a:solidFill>
              <a:latin typeface="Arial" pitchFamily="34" charset="0"/>
              <a:cs typeface="Arial" pitchFamily="34" charset="0"/>
            </a:endParaRPr>
          </a:p>
          <a:p>
            <a:pPr>
              <a:lnSpc>
                <a:spcPct val="150000"/>
              </a:lnSpc>
            </a:pPr>
            <a:endPar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endParaRPr>
          </a:p>
          <a:p>
            <a:pPr>
              <a:lnSpc>
                <a:spcPct val="150000"/>
              </a:lnSpc>
            </a:pPr>
            <a:r>
              <a:rPr lang="en-GB" altLang="en-US" sz="1100" dirty="0">
                <a:solidFill>
                  <a:schemeClr val="accent2"/>
                </a:solidFill>
                <a:latin typeface="Arial" pitchFamily="34" charset="0"/>
                <a:cs typeface="Arial" pitchFamily="34" charset="0"/>
              </a:rPr>
              <a:t>PLAN</a:t>
            </a:r>
          </a:p>
          <a:p>
            <a:pPr>
              <a:lnSpc>
                <a:spcPct val="150000"/>
              </a:lnSpc>
              <a:spcAft>
                <a:spcPts val="800"/>
              </a:spcAft>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To cement this partnership, a 30” emotionally charged film was created focusing on the plight of Raphael, who experienced homelessness when he was 17 but was helped by </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Change Please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three years ago and is now a vital part of the organisation. Whilst in the past, cinema had been an untapped channel for Colgate, they knew connection and awareness were needed for this campaign to dial up on the emotion and drive positive change &amp; perceptions. Colgate utilised cinema to reach the emotive side of their target audience, using the shared collective experience, relaxed environment, and immersive viewing that cinema offers. Colgate bought into film packs themed full of family moments and positivity, running across 8 key films that aligned with optimistic sentiment, including </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Trolls Band Together, The Marvels, Aquaman and the Lost Kingdom, Bob Marley: One Love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and Wish.</a:t>
            </a:r>
          </a:p>
          <a:p>
            <a:pPr>
              <a:lnSpc>
                <a:spcPct val="150000"/>
              </a:lnSpc>
              <a:spcAft>
                <a:spcPts val="800"/>
              </a:spcAft>
            </a:pPr>
            <a:endPar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A34E1F02-4208-17DB-21EC-E461ABD307C6}"/>
              </a:ext>
            </a:extLst>
          </p:cNvPr>
          <p:cNvSpPr/>
          <p:nvPr/>
        </p:nvSpPr>
        <p:spPr>
          <a:xfrm>
            <a:off x="7308717" y="5679992"/>
            <a:ext cx="2359158" cy="401517"/>
          </a:xfrm>
          <a:prstGeom prst="round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19%</a:t>
            </a:r>
          </a:p>
        </p:txBody>
      </p:sp>
      <p:sp>
        <p:nvSpPr>
          <p:cNvPr id="2" name="Content Placeholder 6">
            <a:extLst>
              <a:ext uri="{FF2B5EF4-FFF2-40B4-BE49-F238E27FC236}">
                <a16:creationId xmlns:a16="http://schemas.microsoft.com/office/drawing/2014/main" id="{00A8AB46-1C8E-B2FD-1E61-F4D7668A2364}"/>
              </a:ext>
            </a:extLst>
          </p:cNvPr>
          <p:cNvSpPr txBox="1">
            <a:spLocks/>
          </p:cNvSpPr>
          <p:nvPr/>
        </p:nvSpPr>
        <p:spPr bwMode="gray">
          <a:xfrm>
            <a:off x="7308717" y="6081509"/>
            <a:ext cx="2359158" cy="631765"/>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800"/>
              </a:lnSpc>
            </a:pP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Cinema drove incremental impact on front of mind saliency</a:t>
            </a:r>
          </a:p>
        </p:txBody>
      </p:sp>
      <p:sp>
        <p:nvSpPr>
          <p:cNvPr id="8" name="Rectangle 7">
            <a:extLst>
              <a:ext uri="{FF2B5EF4-FFF2-40B4-BE49-F238E27FC236}">
                <a16:creationId xmlns:a16="http://schemas.microsoft.com/office/drawing/2014/main" id="{7DDD6353-A0D4-ED82-1CC2-76DCFF499B14}"/>
              </a:ext>
            </a:extLst>
          </p:cNvPr>
          <p:cNvSpPr/>
          <p:nvPr/>
        </p:nvSpPr>
        <p:spPr>
          <a:xfrm>
            <a:off x="6886575" y="3910345"/>
            <a:ext cx="6036479" cy="2903444"/>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2" name="Rectangle 11">
            <a:extLst>
              <a:ext uri="{FF2B5EF4-FFF2-40B4-BE49-F238E27FC236}">
                <a16:creationId xmlns:a16="http://schemas.microsoft.com/office/drawing/2014/main" id="{BBA11A03-F9DF-91D5-5F20-5EEEDFEDA1B0}"/>
              </a:ext>
            </a:extLst>
          </p:cNvPr>
          <p:cNvSpPr/>
          <p:nvPr/>
        </p:nvSpPr>
        <p:spPr>
          <a:xfrm>
            <a:off x="234808" y="1163871"/>
            <a:ext cx="6448126" cy="564991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pic>
        <p:nvPicPr>
          <p:cNvPr id="13" name="Picture 12">
            <a:extLst>
              <a:ext uri="{FF2B5EF4-FFF2-40B4-BE49-F238E27FC236}">
                <a16:creationId xmlns:a16="http://schemas.microsoft.com/office/drawing/2014/main" id="{D4D0FE6E-CBF6-6264-E27E-8C5DDD338042}"/>
              </a:ext>
            </a:extLst>
          </p:cNvPr>
          <p:cNvPicPr>
            <a:picLocks noChangeAspect="1"/>
          </p:cNvPicPr>
          <p:nvPr/>
        </p:nvPicPr>
        <p:blipFill>
          <a:blip r:embed="rId2"/>
          <a:srcRect t="14860" b="16807"/>
          <a:stretch/>
        </p:blipFill>
        <p:spPr>
          <a:xfrm>
            <a:off x="6886575" y="1163871"/>
            <a:ext cx="6036478" cy="2575185"/>
          </a:xfrm>
          <a:prstGeom prst="rect">
            <a:avLst/>
          </a:prstGeom>
        </p:spPr>
      </p:pic>
      <p:sp>
        <p:nvSpPr>
          <p:cNvPr id="15" name="Rectangle: Rounded Corners 14">
            <a:extLst>
              <a:ext uri="{FF2B5EF4-FFF2-40B4-BE49-F238E27FC236}">
                <a16:creationId xmlns:a16="http://schemas.microsoft.com/office/drawing/2014/main" id="{8768837F-535F-F5BB-B221-3C20CB361E35}"/>
              </a:ext>
            </a:extLst>
          </p:cNvPr>
          <p:cNvSpPr/>
          <p:nvPr/>
        </p:nvSpPr>
        <p:spPr>
          <a:xfrm>
            <a:off x="10125410" y="5679992"/>
            <a:ext cx="2359158" cy="401517"/>
          </a:xfrm>
          <a:prstGeom prst="round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13%</a:t>
            </a:r>
          </a:p>
        </p:txBody>
      </p:sp>
      <p:sp>
        <p:nvSpPr>
          <p:cNvPr id="16" name="Content Placeholder 6">
            <a:extLst>
              <a:ext uri="{FF2B5EF4-FFF2-40B4-BE49-F238E27FC236}">
                <a16:creationId xmlns:a16="http://schemas.microsoft.com/office/drawing/2014/main" id="{35F50CD7-CF35-C9A9-711C-468FCB9268D8}"/>
              </a:ext>
            </a:extLst>
          </p:cNvPr>
          <p:cNvSpPr txBox="1">
            <a:spLocks/>
          </p:cNvSpPr>
          <p:nvPr/>
        </p:nvSpPr>
        <p:spPr bwMode="gray">
          <a:xfrm>
            <a:off x="10125410" y="6081509"/>
            <a:ext cx="2359158" cy="631765"/>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800"/>
              </a:lnSpc>
            </a:pP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Cinema drove associations that Colgate is a caring brand</a:t>
            </a:r>
          </a:p>
        </p:txBody>
      </p:sp>
      <p:sp>
        <p:nvSpPr>
          <p:cNvPr id="17" name="Content Placeholder 6">
            <a:extLst>
              <a:ext uri="{FF2B5EF4-FFF2-40B4-BE49-F238E27FC236}">
                <a16:creationId xmlns:a16="http://schemas.microsoft.com/office/drawing/2014/main" id="{4813C1C0-78FC-9CCF-5021-D2422D5E7CBE}"/>
              </a:ext>
            </a:extLst>
          </p:cNvPr>
          <p:cNvSpPr txBox="1">
            <a:spLocks/>
          </p:cNvSpPr>
          <p:nvPr/>
        </p:nvSpPr>
        <p:spPr bwMode="gray">
          <a:xfrm>
            <a:off x="6886576" y="3990975"/>
            <a:ext cx="6036478" cy="281332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accent2"/>
                </a:solidFill>
                <a:latin typeface="Arial" pitchFamily="34" charset="0"/>
                <a:cs typeface="Arial" pitchFamily="34" charset="0"/>
              </a:rPr>
              <a:t>RESULTS</a:t>
            </a:r>
          </a:p>
          <a:p>
            <a:pPr>
              <a:lnSpc>
                <a:spcPts val="1800"/>
              </a:lnSpc>
            </a:pP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Cinema was pivotal in helping to raise awareness of the ‘Futures to Smile About’ initiative, in addition to boosting positive associations with Colgate as a brand. But the real success is helping those in need, those, who without </a:t>
            </a:r>
            <a:r>
              <a:rPr lang="en-GB" sz="1100" b="0" i="1"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Futures to Smile About </a:t>
            </a: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would be living day to day in excruciating pain. Already this year, Colgate and Change Please have seen 433 patients, with 191 needing specific dental help in the mobile dental service bus.</a:t>
            </a:r>
          </a:p>
        </p:txBody>
      </p:sp>
    </p:spTree>
    <p:extLst>
      <p:ext uri="{BB962C8B-B14F-4D97-AF65-F5344CB8AC3E}">
        <p14:creationId xmlns:p14="http://schemas.microsoft.com/office/powerpoint/2010/main" val="171887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187</TotalTime>
  <Words>454</Words>
  <Application>Microsoft Office PowerPoint</Application>
  <PresentationFormat>Custom</PresentationFormat>
  <Paragraphs>24</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Colgat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Emily Ezekiel</cp:lastModifiedBy>
  <cp:revision>134</cp:revision>
  <dcterms:created xsi:type="dcterms:W3CDTF">2022-06-22T15:38:41Z</dcterms:created>
  <dcterms:modified xsi:type="dcterms:W3CDTF">2024-12-11T13:35:3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